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</p:sldMasterIdLst>
  <p:notesMasterIdLst>
    <p:notesMasterId r:id="rId6"/>
  </p:notesMasterIdLst>
  <p:handoutMasterIdLst>
    <p:handoutMasterId r:id="rId7"/>
  </p:handoutMasterIdLst>
  <p:sldIdLst>
    <p:sldId id="2145707566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j Meel" initials="RM" lastIdx="1" clrIdx="0">
    <p:extLst>
      <p:ext uri="{19B8F6BF-5375-455C-9EA6-DF929625EA0E}">
        <p15:presenceInfo xmlns:p15="http://schemas.microsoft.com/office/powerpoint/2012/main" userId="S::raj.meel@suse.com::d3795505-e436-4ae8-a4cd-d2ab379636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BA77"/>
    <a:srgbClr val="3138A7"/>
    <a:srgbClr val="FE7C3F"/>
    <a:srgbClr val="2453FF"/>
    <a:srgbClr val="90EBCD"/>
    <a:srgbClr val="175D51"/>
    <a:srgbClr val="0C322C"/>
    <a:srgbClr val="12E8DD"/>
    <a:srgbClr val="192072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14540-5D9D-45F8-0C13-1B2D44650F9B}" v="1" dt="2022-03-21T03:45:12.890"/>
    <p1510:client id="{78E1EBDE-0105-646C-5574-4D1094F4E18D}" v="22" dt="2023-08-09T21:12:49.406"/>
    <p1510:client id="{8C9B7E09-F445-B26C-A9DA-C2323DEF47EF}" v="54" dt="2023-08-09T22:16:26.365"/>
    <p1510:client id="{B3EEC3B7-5090-A74D-9D7A-9252351787D9}" v="601" dt="2022-03-21T13:49:52.142"/>
    <p1510:client id="{BE5B3A06-3AE0-4DBC-B852-77E9122D9302}" vWet="9" dt="2022-03-21T13:22:06.991"/>
    <p1510:client id="{C1A04A76-CE84-90C7-CA31-7E752031CFD2}" v="6" dt="2023-08-09T22:35:58.4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301FE79-833D-554D-9BBC-E63CCD6E54F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5E16E6-97C7-EE42-896D-D3C3D0156D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8415ED-264F-FF46-958E-562BDBE3B629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8B7D7-9C57-9F49-AC9E-907366F6FE4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A9A464-AC6E-2642-95D4-DC7E78E23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4A3B10-583C-B94D-B167-AB1123A96E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9920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B5CFFD-C28E-4F99-A0AE-37E23A3D8A38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119A10-C191-488C-8380-88750C29A3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718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119A10-C191-488C-8380-88750C29A35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968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5437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6056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461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| Subheadline |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31838" y="2544286"/>
            <a:ext cx="7108825" cy="24844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5B2268D1-19DC-EF46-AD5A-3EA96AF760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294734"/>
            <a:ext cx="288888" cy="1231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r"/>
            <a:fld id="{866D8E11-A83D-46AC-BA35-C493C365AC69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81EEE17-1A6A-B247-B8A5-B462B4B1F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67542" y="6184072"/>
            <a:ext cx="465932" cy="268807"/>
          </a:xfrm>
          <a:prstGeom prst="rect">
            <a:avLst/>
          </a:prstGeom>
        </p:spPr>
      </p:pic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03D83A36-7091-E445-90BB-3EE0E0CD18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837" y="1157783"/>
            <a:ext cx="10728325" cy="6694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Aft>
                <a:spcPts val="1000"/>
              </a:spcAft>
              <a:buNone/>
              <a:defRPr sz="2000" baseline="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</a:lstStyle>
          <a:p>
            <a:pPr lvl="0"/>
            <a:r>
              <a:rPr lang="en-US"/>
              <a:t>This is a subheading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</p:txBody>
      </p:sp>
      <p:sp>
        <p:nvSpPr>
          <p:cNvPr id="12" name="Title Placeholder 22">
            <a:extLst>
              <a:ext uri="{FF2B5EF4-FFF2-40B4-BE49-F238E27FC236}">
                <a16:creationId xmlns:a16="http://schemas.microsoft.com/office/drawing/2014/main" id="{57ED2DA4-AB58-104B-857F-AF0DD0028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7" y="630659"/>
            <a:ext cx="10728324" cy="45550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This is a headlin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0F6BD71-32BC-CB42-874E-1DB181338303}"/>
              </a:ext>
            </a:extLst>
          </p:cNvPr>
          <p:cNvGrpSpPr/>
          <p:nvPr userDrawn="1"/>
        </p:nvGrpSpPr>
        <p:grpSpPr>
          <a:xfrm rot="16200000">
            <a:off x="6061664" y="-6061660"/>
            <a:ext cx="68678" cy="12192005"/>
            <a:chOff x="4713353" y="-1"/>
            <a:chExt cx="73891" cy="685800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74B675C-898F-4C4D-8CA8-652AB2B99F3C}"/>
                </a:ext>
              </a:extLst>
            </p:cNvPr>
            <p:cNvSpPr/>
            <p:nvPr userDrawn="1"/>
          </p:nvSpPr>
          <p:spPr>
            <a:xfrm>
              <a:off x="4713353" y="-1"/>
              <a:ext cx="73890" cy="411659"/>
            </a:xfrm>
            <a:prstGeom prst="rect">
              <a:avLst/>
            </a:prstGeom>
            <a:solidFill>
              <a:srgbClr val="245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EB16719-BE10-A64E-B19B-BE391DFEB849}"/>
                </a:ext>
              </a:extLst>
            </p:cNvPr>
            <p:cNvSpPr/>
            <p:nvPr userDrawn="1"/>
          </p:nvSpPr>
          <p:spPr>
            <a:xfrm>
              <a:off x="4713354" y="1089421"/>
              <a:ext cx="73889" cy="3393281"/>
            </a:xfrm>
            <a:prstGeom prst="rect">
              <a:avLst/>
            </a:prstGeom>
            <a:solidFill>
              <a:srgbClr val="30BA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4B04ACA-F307-7E47-A70A-94B756A52B31}"/>
                </a:ext>
              </a:extLst>
            </p:cNvPr>
            <p:cNvSpPr/>
            <p:nvPr userDrawn="1"/>
          </p:nvSpPr>
          <p:spPr>
            <a:xfrm>
              <a:off x="4713354" y="4482703"/>
              <a:ext cx="73889" cy="677762"/>
            </a:xfrm>
            <a:prstGeom prst="rect">
              <a:avLst/>
            </a:prstGeom>
            <a:solidFill>
              <a:srgbClr val="FE7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1955343-7A2F-884E-956E-95E4B53F8631}"/>
                </a:ext>
              </a:extLst>
            </p:cNvPr>
            <p:cNvSpPr/>
            <p:nvPr userDrawn="1"/>
          </p:nvSpPr>
          <p:spPr>
            <a:xfrm>
              <a:off x="4713354" y="5160465"/>
              <a:ext cx="73887" cy="1697536"/>
            </a:xfrm>
            <a:prstGeom prst="rect">
              <a:avLst/>
            </a:prstGeom>
            <a:solidFill>
              <a:srgbClr val="0C32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BE13884-F730-0448-A086-18EFE8CAA9DF}"/>
                </a:ext>
              </a:extLst>
            </p:cNvPr>
            <p:cNvSpPr/>
            <p:nvPr userDrawn="1"/>
          </p:nvSpPr>
          <p:spPr>
            <a:xfrm>
              <a:off x="4713356" y="411657"/>
              <a:ext cx="73888" cy="67776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96559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269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516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069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1718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984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602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8109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528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8/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410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5" name="Group 34">
            <a:extLst>
              <a:ext uri="{FF2B5EF4-FFF2-40B4-BE49-F238E27FC236}">
                <a16:creationId xmlns:a16="http://schemas.microsoft.com/office/drawing/2014/main" id="{201527E9-17F9-984C-A251-EF97B52452E0}"/>
              </a:ext>
            </a:extLst>
          </p:cNvPr>
          <p:cNvGrpSpPr/>
          <p:nvPr/>
        </p:nvGrpSpPr>
        <p:grpSpPr>
          <a:xfrm>
            <a:off x="4356704" y="2108250"/>
            <a:ext cx="7083816" cy="3942079"/>
            <a:chOff x="4286942" y="2108250"/>
            <a:chExt cx="7083816" cy="3942079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C8498C1-9BA9-8941-A802-DD127721EE50}"/>
                </a:ext>
              </a:extLst>
            </p:cNvPr>
            <p:cNvGrpSpPr/>
            <p:nvPr/>
          </p:nvGrpSpPr>
          <p:grpSpPr>
            <a:xfrm rot="10800000">
              <a:off x="4286942" y="2108250"/>
              <a:ext cx="7083816" cy="3942079"/>
              <a:chOff x="287225" y="2030675"/>
              <a:chExt cx="7083816" cy="3942079"/>
            </a:xfr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</p:grpSpPr>
          <p:sp>
            <p:nvSpPr>
              <p:cNvPr id="67" name="Parallelogram 66">
                <a:extLst>
                  <a:ext uri="{FF2B5EF4-FFF2-40B4-BE49-F238E27FC236}">
                    <a16:creationId xmlns:a16="http://schemas.microsoft.com/office/drawing/2014/main" id="{EEF7B160-3B64-0344-BEE6-4CFAAA49582C}"/>
                  </a:ext>
                </a:extLst>
              </p:cNvPr>
              <p:cNvSpPr/>
              <p:nvPr/>
            </p:nvSpPr>
            <p:spPr>
              <a:xfrm>
                <a:off x="287225" y="2030675"/>
                <a:ext cx="3280672" cy="3940003"/>
              </a:xfrm>
              <a:prstGeom prst="parallelogram">
                <a:avLst>
                  <a:gd name="adj" fmla="val 28294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Parallelogram 67">
                <a:extLst>
                  <a:ext uri="{FF2B5EF4-FFF2-40B4-BE49-F238E27FC236}">
                    <a16:creationId xmlns:a16="http://schemas.microsoft.com/office/drawing/2014/main" id="{137472AA-2AD3-4346-AABA-33D95B8C04DB}"/>
                  </a:ext>
                </a:extLst>
              </p:cNvPr>
              <p:cNvSpPr/>
              <p:nvPr/>
            </p:nvSpPr>
            <p:spPr>
              <a:xfrm>
                <a:off x="2404195" y="4917673"/>
                <a:ext cx="4966846" cy="1055081"/>
              </a:xfrm>
              <a:prstGeom prst="parallelogram">
                <a:avLst>
                  <a:gd name="adj" fmla="val 2036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E63D824C-8970-F749-A58B-AB96C7F492E0}"/>
                </a:ext>
              </a:extLst>
            </p:cNvPr>
            <p:cNvSpPr txBox="1"/>
            <p:nvPr/>
          </p:nvSpPr>
          <p:spPr>
            <a:xfrm>
              <a:off x="6337494" y="2450179"/>
              <a:ext cx="285608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Shakti</a:t>
              </a:r>
              <a:endParaRPr lang="en-US" dirty="0">
                <a:cs typeface="Poppins Light"/>
              </a:endParaRPr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BA0CFA16-3F06-B64D-8319-C74551C13F39}"/>
                </a:ext>
              </a:extLst>
            </p:cNvPr>
            <p:cNvCxnSpPr>
              <a:cxnSpLocks/>
            </p:cNvCxnSpPr>
            <p:nvPr/>
          </p:nvCxnSpPr>
          <p:spPr>
            <a:xfrm>
              <a:off x="8114105" y="5106370"/>
              <a:ext cx="2592707" cy="0"/>
            </a:xfrm>
            <a:prstGeom prst="line">
              <a:avLst/>
            </a:prstGeom>
            <a:solidFill>
              <a:schemeClr val="accent1"/>
            </a:solidFill>
            <a:ln w="63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C60037B-24C9-ED4A-92B6-2724B172AE0A}"/>
                </a:ext>
              </a:extLst>
            </p:cNvPr>
            <p:cNvCxnSpPr>
              <a:cxnSpLocks/>
            </p:cNvCxnSpPr>
            <p:nvPr/>
          </p:nvCxnSpPr>
          <p:spPr>
            <a:xfrm>
              <a:off x="8341340" y="4573522"/>
              <a:ext cx="2548048" cy="0"/>
            </a:xfrm>
            <a:prstGeom prst="line">
              <a:avLst/>
            </a:prstGeom>
            <a:solidFill>
              <a:schemeClr val="accent1"/>
            </a:solidFill>
            <a:ln w="63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BF67F51E-E572-B449-9C07-AF3D478129DC}"/>
                </a:ext>
              </a:extLst>
            </p:cNvPr>
            <p:cNvCxnSpPr>
              <a:cxnSpLocks/>
            </p:cNvCxnSpPr>
            <p:nvPr/>
          </p:nvCxnSpPr>
          <p:spPr>
            <a:xfrm>
              <a:off x="8421818" y="4039912"/>
              <a:ext cx="2548048" cy="0"/>
            </a:xfrm>
            <a:prstGeom prst="line">
              <a:avLst/>
            </a:prstGeom>
            <a:solidFill>
              <a:schemeClr val="accent1"/>
            </a:solidFill>
            <a:ln w="63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CE9C5E76-BE98-6542-88F8-3270388AE156}"/>
                </a:ext>
              </a:extLst>
            </p:cNvPr>
            <p:cNvCxnSpPr>
              <a:cxnSpLocks/>
            </p:cNvCxnSpPr>
            <p:nvPr/>
          </p:nvCxnSpPr>
          <p:spPr>
            <a:xfrm>
              <a:off x="8485268" y="3348489"/>
              <a:ext cx="2676850" cy="0"/>
            </a:xfrm>
            <a:prstGeom prst="line">
              <a:avLst/>
            </a:prstGeom>
            <a:solidFill>
              <a:schemeClr val="accent1"/>
            </a:solidFill>
            <a:ln w="63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9431173-4C5A-3B49-8E1A-B5A5AF1B5674}"/>
              </a:ext>
            </a:extLst>
          </p:cNvPr>
          <p:cNvGrpSpPr/>
          <p:nvPr/>
        </p:nvGrpSpPr>
        <p:grpSpPr>
          <a:xfrm>
            <a:off x="751480" y="2102571"/>
            <a:ext cx="7108194" cy="3940003"/>
            <a:chOff x="150262" y="2106053"/>
            <a:chExt cx="7108194" cy="3940003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0ECF030-2BF2-1C42-8E04-4B878F598A82}"/>
                </a:ext>
              </a:extLst>
            </p:cNvPr>
            <p:cNvGrpSpPr/>
            <p:nvPr/>
          </p:nvGrpSpPr>
          <p:grpSpPr>
            <a:xfrm>
              <a:off x="150262" y="2106053"/>
              <a:ext cx="7108194" cy="3940003"/>
              <a:chOff x="731837" y="2110326"/>
              <a:chExt cx="7108194" cy="3940003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952FAA85-91E4-7646-B754-2B7A6D5E0F3B}"/>
                  </a:ext>
                </a:extLst>
              </p:cNvPr>
              <p:cNvGrpSpPr/>
              <p:nvPr/>
            </p:nvGrpSpPr>
            <p:grpSpPr>
              <a:xfrm>
                <a:off x="731837" y="2110326"/>
                <a:ext cx="7108194" cy="3940003"/>
                <a:chOff x="287225" y="2030675"/>
                <a:chExt cx="7108194" cy="3940003"/>
              </a:xfr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</p:grpSpPr>
            <p:sp>
              <p:nvSpPr>
                <p:cNvPr id="44" name="Parallelogram 43">
                  <a:extLst>
                    <a:ext uri="{FF2B5EF4-FFF2-40B4-BE49-F238E27FC236}">
                      <a16:creationId xmlns:a16="http://schemas.microsoft.com/office/drawing/2014/main" id="{039DB4D0-41FC-0249-9ED5-18CA34516A63}"/>
                    </a:ext>
                  </a:extLst>
                </p:cNvPr>
                <p:cNvSpPr/>
                <p:nvPr/>
              </p:nvSpPr>
              <p:spPr>
                <a:xfrm>
                  <a:off x="287225" y="2030675"/>
                  <a:ext cx="3280672" cy="3940003"/>
                </a:xfrm>
                <a:prstGeom prst="parallelogram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Parallelogram 48">
                  <a:extLst>
                    <a:ext uri="{FF2B5EF4-FFF2-40B4-BE49-F238E27FC236}">
                      <a16:creationId xmlns:a16="http://schemas.microsoft.com/office/drawing/2014/main" id="{965892BC-59E8-D346-9872-7FF1249C1254}"/>
                    </a:ext>
                  </a:extLst>
                </p:cNvPr>
                <p:cNvSpPr/>
                <p:nvPr/>
              </p:nvSpPr>
              <p:spPr>
                <a:xfrm>
                  <a:off x="2428573" y="4899297"/>
                  <a:ext cx="4966846" cy="1071380"/>
                </a:xfrm>
                <a:prstGeom prst="parallelogram">
                  <a:avLst>
                    <a:gd name="adj" fmla="val 23437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64BE422F-F5AF-F047-99B8-C33C6D9FD7A2}"/>
                  </a:ext>
                </a:extLst>
              </p:cNvPr>
              <p:cNvSpPr txBox="1"/>
              <p:nvPr/>
            </p:nvSpPr>
            <p:spPr>
              <a:xfrm>
                <a:off x="1750807" y="5332246"/>
                <a:ext cx="506128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iva</a:t>
                </a:r>
                <a:endParaRPr lang="en-US"/>
              </a:p>
            </p:txBody>
          </p:sp>
        </p:grp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258021F-7F93-6246-A4E0-F6531AEE0BF8}"/>
                </a:ext>
              </a:extLst>
            </p:cNvPr>
            <p:cNvCxnSpPr>
              <a:cxnSpLocks/>
            </p:cNvCxnSpPr>
            <p:nvPr/>
          </p:nvCxnSpPr>
          <p:spPr>
            <a:xfrm>
              <a:off x="784748" y="2646252"/>
              <a:ext cx="2548048" cy="0"/>
            </a:xfrm>
            <a:prstGeom prst="line">
              <a:avLst/>
            </a:prstGeom>
            <a:solidFill>
              <a:schemeClr val="accent1"/>
            </a:solidFill>
            <a:ln w="63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2B96A3DB-EBBE-3E47-BA8A-EA09D5B42217}"/>
                </a:ext>
              </a:extLst>
            </p:cNvPr>
            <p:cNvCxnSpPr>
              <a:cxnSpLocks/>
            </p:cNvCxnSpPr>
            <p:nvPr/>
          </p:nvCxnSpPr>
          <p:spPr>
            <a:xfrm>
              <a:off x="703914" y="3274052"/>
              <a:ext cx="2528842" cy="0"/>
            </a:xfrm>
            <a:prstGeom prst="line">
              <a:avLst/>
            </a:prstGeom>
            <a:solidFill>
              <a:schemeClr val="accent1"/>
            </a:solidFill>
            <a:ln w="63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CCDE6020-CCC3-5F42-93A5-FAA1A6255238}"/>
                </a:ext>
              </a:extLst>
            </p:cNvPr>
            <p:cNvCxnSpPr>
              <a:cxnSpLocks/>
            </p:cNvCxnSpPr>
            <p:nvPr/>
          </p:nvCxnSpPr>
          <p:spPr>
            <a:xfrm>
              <a:off x="498730" y="3994925"/>
              <a:ext cx="2583736" cy="0"/>
            </a:xfrm>
            <a:prstGeom prst="line">
              <a:avLst/>
            </a:prstGeom>
            <a:solidFill>
              <a:schemeClr val="accent1"/>
            </a:solidFill>
            <a:ln w="63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A395DC4-E239-8E4E-83EB-92261ADD7854}"/>
              </a:ext>
            </a:extLst>
          </p:cNvPr>
          <p:cNvCxnSpPr>
            <a:cxnSpLocks/>
          </p:cNvCxnSpPr>
          <p:nvPr/>
        </p:nvCxnSpPr>
        <p:spPr>
          <a:xfrm>
            <a:off x="8233865" y="5589696"/>
            <a:ext cx="2592707" cy="0"/>
          </a:xfrm>
          <a:prstGeom prst="line">
            <a:avLst/>
          </a:prstGeom>
          <a:solidFill>
            <a:schemeClr val="accent1"/>
          </a:solidFill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22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BAD2D827DE544BACEFB2E97703F0C6" ma:contentTypeVersion="14" ma:contentTypeDescription="Create a new document." ma:contentTypeScope="" ma:versionID="b72532e37968292f02be69886576a41e">
  <xsd:schema xmlns:xsd="http://www.w3.org/2001/XMLSchema" xmlns:xs="http://www.w3.org/2001/XMLSchema" xmlns:p="http://schemas.microsoft.com/office/2006/metadata/properties" xmlns:ns2="1d447751-fd22-463b-aa98-1cddad9f638e" xmlns:ns3="17e5c037-d4a4-4a15-bfdf-14da95ed1cc5" targetNamespace="http://schemas.microsoft.com/office/2006/metadata/properties" ma:root="true" ma:fieldsID="ab816aaa7780b2b48f52e61b592cd292" ns2:_="" ns3:_="">
    <xsd:import namespace="1d447751-fd22-463b-aa98-1cddad9f638e"/>
    <xsd:import namespace="17e5c037-d4a4-4a15-bfdf-14da95ed1c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essionsOverviewSpreadsheetLineNumber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447751-fd22-463b-aa98-1cddad9f6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SessionsOverviewSpreadsheetLineNumber" ma:index="15" nillable="true" ma:displayName="Sessions Overview Spreadsheet Line Number" ma:decimals="2" ma:default="62" ma:format="Dropdown" ma:internalName="SessionsOverviewSpreadsheetLineNumber" ma:percentage="FALSE">
      <xsd:simpleType>
        <xsd:restriction base="dms:Number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e5c037-d4a4-4a15-bfdf-14da95ed1cc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essionsOverviewSpreadsheetLineNumber xmlns="1d447751-fd22-463b-aa98-1cddad9f638e">62</SessionsOverviewSpreadsheetLineNumber>
  </documentManagement>
</p:properties>
</file>

<file path=customXml/itemProps1.xml><?xml version="1.0" encoding="utf-8"?>
<ds:datastoreItem xmlns:ds="http://schemas.openxmlformats.org/officeDocument/2006/customXml" ds:itemID="{74B61CFA-60B2-46A7-9119-40BC38C53DBC}">
  <ds:schemaRefs>
    <ds:schemaRef ds:uri="17e5c037-d4a4-4a15-bfdf-14da95ed1cc5"/>
    <ds:schemaRef ds:uri="1d447751-fd22-463b-aa98-1cddad9f63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3D228E4-0704-48AB-A5B4-085B844E48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3C6682-A717-4DEF-A002-EA59B5040EB5}">
  <ds:schemaRefs>
    <ds:schemaRef ds:uri="17e5c037-d4a4-4a15-bfdf-14da95ed1cc5"/>
    <ds:schemaRef ds:uri="1d447751-fd22-463b-aa98-1cddad9f638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USE-PPT-Template-2022 (1)</Template>
  <Application>Microsoft Office PowerPoint</Application>
  <PresentationFormat>Widescreen</PresentationFormat>
  <Slides>1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netta Holt</dc:creator>
  <cp:revision>25</cp:revision>
  <dcterms:created xsi:type="dcterms:W3CDTF">2022-02-08T14:57:59Z</dcterms:created>
  <dcterms:modified xsi:type="dcterms:W3CDTF">2023-08-09T22:3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BAD2D827DE544BACEFB2E97703F0C6</vt:lpwstr>
  </property>
</Properties>
</file>